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965" r:id="rId3"/>
    <p:sldMasterId id="2147483981" r:id="rId4"/>
    <p:sldMasterId id="2147483997" r:id="rId5"/>
    <p:sldMasterId id="2147484013" r:id="rId6"/>
  </p:sldMasterIdLst>
  <p:notesMasterIdLst>
    <p:notesMasterId r:id="rId10"/>
  </p:notesMasterIdLst>
  <p:handoutMasterIdLst>
    <p:handoutMasterId r:id="rId11"/>
  </p:handoutMasterIdLst>
  <p:sldIdLst>
    <p:sldId id="335" r:id="rId7"/>
    <p:sldId id="337" r:id="rId8"/>
    <p:sldId id="336" r:id="rId9"/>
  </p:sldIdLst>
  <p:sldSz cx="10080625" cy="7561263"/>
  <p:notesSz cx="6858000" cy="9144000"/>
  <p:custDataLst>
    <p:tags r:id="rId12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35" autoAdjust="0"/>
    <p:restoredTop sz="86323" autoAdjust="0"/>
  </p:normalViewPr>
  <p:slideViewPr>
    <p:cSldViewPr snapToGrid="0">
      <p:cViewPr varScale="1">
        <p:scale>
          <a:sx n="66" d="100"/>
          <a:sy n="66" d="100"/>
        </p:scale>
        <p:origin x="66" y="103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10772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9" d="100"/>
        <a:sy n="89" d="100"/>
      </p:scale>
      <p:origin x="0" y="9200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2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2/1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2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9.bin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1.bin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3.bin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6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5.bin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7.bin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0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29.bin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31.bin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0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7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36.bin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9.xml"/><Relationship Id="rId7" Type="http://schemas.openxmlformats.org/officeDocument/2006/relationships/image" Target="../media/image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38.bin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1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40.bin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3.xml"/><Relationship Id="rId7" Type="http://schemas.openxmlformats.org/officeDocument/2006/relationships/image" Target="../media/image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42.bin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5.xml"/><Relationship Id="rId7" Type="http://schemas.openxmlformats.org/officeDocument/2006/relationships/image" Target="../media/image5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44.bin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7.xml"/><Relationship Id="rId7" Type="http://schemas.openxmlformats.org/officeDocument/2006/relationships/image" Target="../media/image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46.bin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9.xml"/><Relationship Id="rId7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48.bin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1.xml"/><Relationship Id="rId7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50.bin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3.xml"/><Relationship Id="rId7" Type="http://schemas.openxmlformats.org/officeDocument/2006/relationships/image" Target="../media/image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52.bin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54.bin"/><Relationship Id="rId5" Type="http://schemas.openxmlformats.org/officeDocument/2006/relationships/oleObject" Target="../embeddings/oleObject53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7.xml"/><Relationship Id="rId7" Type="http://schemas.openxmlformats.org/officeDocument/2006/relationships/image" Target="../media/image5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56.bin"/><Relationship Id="rId5" Type="http://schemas.openxmlformats.org/officeDocument/2006/relationships/oleObject" Target="../embeddings/oleObject55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8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image" Target="../media/image5.png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58.bin"/><Relationship Id="rId5" Type="http://schemas.openxmlformats.org/officeDocument/2006/relationships/oleObject" Target="../embeddings/oleObject57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60.bin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1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62.bin"/><Relationship Id="rId9" Type="http://schemas.openxmlformats.org/officeDocument/2006/relationships/image" Target="../media/image1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63.bin"/><Relationship Id="rId9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6.xml"/><Relationship Id="rId7" Type="http://schemas.openxmlformats.org/officeDocument/2006/relationships/image" Target="../media/image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65.bin"/><Relationship Id="rId5" Type="http://schemas.openxmlformats.org/officeDocument/2006/relationships/oleObject" Target="../embeddings/oleObject64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8.xml"/><Relationship Id="rId7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67.bin"/><Relationship Id="rId5" Type="http://schemas.openxmlformats.org/officeDocument/2006/relationships/oleObject" Target="../embeddings/oleObject66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0.xml"/><Relationship Id="rId7" Type="http://schemas.openxmlformats.org/officeDocument/2006/relationships/image" Target="../media/image5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69.bin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2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1.bin"/><Relationship Id="rId5" Type="http://schemas.openxmlformats.org/officeDocument/2006/relationships/oleObject" Target="../embeddings/oleObject70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4.xml"/><Relationship Id="rId7" Type="http://schemas.openxmlformats.org/officeDocument/2006/relationships/image" Target="../media/image5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3.bin"/><Relationship Id="rId5" Type="http://schemas.openxmlformats.org/officeDocument/2006/relationships/oleObject" Target="../embeddings/oleObject72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6.xml"/><Relationship Id="rId7" Type="http://schemas.openxmlformats.org/officeDocument/2006/relationships/image" Target="../media/image5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5.bin"/><Relationship Id="rId5" Type="http://schemas.openxmlformats.org/officeDocument/2006/relationships/oleObject" Target="../embeddings/oleObject74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.bin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8.xml"/><Relationship Id="rId7" Type="http://schemas.openxmlformats.org/officeDocument/2006/relationships/image" Target="../media/image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7.bin"/><Relationship Id="rId5" Type="http://schemas.openxmlformats.org/officeDocument/2006/relationships/oleObject" Target="../embeddings/oleObject76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0.xml"/><Relationship Id="rId7" Type="http://schemas.openxmlformats.org/officeDocument/2006/relationships/image" Target="../media/image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79.bin"/><Relationship Id="rId5" Type="http://schemas.openxmlformats.org/officeDocument/2006/relationships/oleObject" Target="../embeddings/oleObject78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2.xml"/><Relationship Id="rId7" Type="http://schemas.openxmlformats.org/officeDocument/2006/relationships/image" Target="../media/image5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81.bin"/><Relationship Id="rId5" Type="http://schemas.openxmlformats.org/officeDocument/2006/relationships/oleObject" Target="../embeddings/oleObject80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4.xml"/><Relationship Id="rId7" Type="http://schemas.openxmlformats.org/officeDocument/2006/relationships/image" Target="../media/image5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83.bin"/><Relationship Id="rId5" Type="http://schemas.openxmlformats.org/officeDocument/2006/relationships/oleObject" Target="../embeddings/oleObject82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6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85.bin"/><Relationship Id="rId5" Type="http://schemas.openxmlformats.org/officeDocument/2006/relationships/oleObject" Target="../embeddings/oleObject84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8.xml"/><Relationship Id="rId7" Type="http://schemas.openxmlformats.org/officeDocument/2006/relationships/image" Target="../media/image5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87.bin"/><Relationship Id="rId5" Type="http://schemas.openxmlformats.org/officeDocument/2006/relationships/oleObject" Target="../embeddings/oleObject86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0.xml"/><Relationship Id="rId7" Type="http://schemas.openxmlformats.org/officeDocument/2006/relationships/image" Target="../media/image5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89.bin"/><Relationship Id="rId5" Type="http://schemas.openxmlformats.org/officeDocument/2006/relationships/oleObject" Target="../embeddings/oleObject88.bin"/><Relationship Id="rId10" Type="http://schemas.openxmlformats.org/officeDocument/2006/relationships/image" Target="../media/image11.emf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9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91.bin"/><Relationship Id="rId9" Type="http://schemas.openxmlformats.org/officeDocument/2006/relationships/image" Target="../media/image1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92.bin"/><Relationship Id="rId9" Type="http://schemas.openxmlformats.org/officeDocument/2006/relationships/image" Target="../media/image1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5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94.bin"/><Relationship Id="rId5" Type="http://schemas.openxmlformats.org/officeDocument/2006/relationships/oleObject" Target="../embeddings/oleObject93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9.bin"/><Relationship Id="rId5" Type="http://schemas.openxmlformats.org/officeDocument/2006/relationships/oleObject" Target="../embeddings/oleObject8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7.xml"/><Relationship Id="rId7" Type="http://schemas.openxmlformats.org/officeDocument/2006/relationships/image" Target="../media/image5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96.bin"/><Relationship Id="rId5" Type="http://schemas.openxmlformats.org/officeDocument/2006/relationships/oleObject" Target="../embeddings/oleObject95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9.xml"/><Relationship Id="rId7" Type="http://schemas.openxmlformats.org/officeDocument/2006/relationships/image" Target="../media/image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98.bin"/><Relationship Id="rId5" Type="http://schemas.openxmlformats.org/officeDocument/2006/relationships/oleObject" Target="../embeddings/oleObject97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1.xml"/><Relationship Id="rId7" Type="http://schemas.openxmlformats.org/officeDocument/2006/relationships/image" Target="../media/image5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00.bin"/><Relationship Id="rId5" Type="http://schemas.openxmlformats.org/officeDocument/2006/relationships/oleObject" Target="../embeddings/oleObject99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3.xml"/><Relationship Id="rId7" Type="http://schemas.openxmlformats.org/officeDocument/2006/relationships/image" Target="../media/image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02.bin"/><Relationship Id="rId5" Type="http://schemas.openxmlformats.org/officeDocument/2006/relationships/oleObject" Target="../embeddings/oleObject101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04.bin"/><Relationship Id="rId5" Type="http://schemas.openxmlformats.org/officeDocument/2006/relationships/oleObject" Target="../embeddings/oleObject103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7.xml"/><Relationship Id="rId7" Type="http://schemas.openxmlformats.org/officeDocument/2006/relationships/image" Target="../media/image5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06.bin"/><Relationship Id="rId5" Type="http://schemas.openxmlformats.org/officeDocument/2006/relationships/oleObject" Target="../embeddings/oleObject105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9.xml"/><Relationship Id="rId7" Type="http://schemas.openxmlformats.org/officeDocument/2006/relationships/image" Target="../media/image5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08.bin"/><Relationship Id="rId5" Type="http://schemas.openxmlformats.org/officeDocument/2006/relationships/oleObject" Target="../embeddings/oleObject107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1.xml"/><Relationship Id="rId7" Type="http://schemas.openxmlformats.org/officeDocument/2006/relationships/image" Target="../media/image5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0.bin"/><Relationship Id="rId5" Type="http://schemas.openxmlformats.org/officeDocument/2006/relationships/oleObject" Target="../embeddings/oleObject109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image" Target="../media/image5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2.bin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5.xml"/><Relationship Id="rId7" Type="http://schemas.openxmlformats.org/officeDocument/2006/relationships/image" Target="../media/image5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4.bin"/><Relationship Id="rId5" Type="http://schemas.openxmlformats.org/officeDocument/2006/relationships/oleObject" Target="../embeddings/oleObject113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.bin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6.bin"/><Relationship Id="rId5" Type="http://schemas.openxmlformats.org/officeDocument/2006/relationships/oleObject" Target="../embeddings/oleObject115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image" Target="../media/image5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18.bin"/><Relationship Id="rId5" Type="http://schemas.openxmlformats.org/officeDocument/2006/relationships/oleObject" Target="../embeddings/oleObject117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3.bin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5.bin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7.bin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8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0080625" cy="680243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82522" y="799410"/>
            <a:ext cx="9316338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89865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70065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50266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30466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21"/>
          </p:nvPr>
        </p:nvSpPr>
        <p:spPr bwMode="gray">
          <a:xfrm>
            <a:off x="510667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5908675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 bwMode="gray">
          <a:xfrm>
            <a:off x="6710680" y="6917309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24"/>
          </p:nvPr>
        </p:nvSpPr>
        <p:spPr bwMode="gray">
          <a:xfrm>
            <a:off x="7512686" y="6916738"/>
            <a:ext cx="659601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pic>
        <p:nvPicPr>
          <p:cNvPr id="25" name="Picture 24" descr="dcm_logo_from_powerpoint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76544" y="6909492"/>
            <a:ext cx="1203185" cy="421605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432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0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0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342265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383857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381000" y="1502012"/>
            <a:ext cx="6934200" cy="4920703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065471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2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2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10080625" cy="6772275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09034215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5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5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349461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2774112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376018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7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7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4287408" cy="3048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buFont typeface="Lucida Grande"/>
              <a:buChar char="‑"/>
              <a:defRPr sz="18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4956677" y="1435748"/>
            <a:ext cx="4857247" cy="4738065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7509942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0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0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033627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2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22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3396522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4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4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 baseline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GB" dirty="0" smtClean="0"/>
              <a:t>Thank you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486003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93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4616450" cy="461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</p:spTree>
    <p:extLst>
      <p:ext uri="{BB962C8B-B14F-4D97-AF65-F5344CB8AC3E}">
        <p14:creationId xmlns:p14="http://schemas.microsoft.com/office/powerpoint/2010/main" val="369916908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17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3662362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4245" y="4861977"/>
            <a:ext cx="9499680" cy="627192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5489168"/>
            <a:ext cx="292100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13067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4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34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908400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25003778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909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4616450" cy="461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</p:spTree>
    <p:extLst>
      <p:ext uri="{BB962C8B-B14F-4D97-AF65-F5344CB8AC3E}">
        <p14:creationId xmlns:p14="http://schemas.microsoft.com/office/powerpoint/2010/main" val="3611812229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6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36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545" y="192085"/>
            <a:ext cx="8359855" cy="418272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682499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39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9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39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sosceles Triangle 19"/>
          <p:cNvSpPr/>
          <p:nvPr userDrawn="1"/>
        </p:nvSpPr>
        <p:spPr>
          <a:xfrm flipV="1">
            <a:off x="1701800" y="3695700"/>
            <a:ext cx="330200" cy="177800"/>
          </a:xfrm>
          <a:prstGeom prst="triangle">
            <a:avLst/>
          </a:prstGeom>
          <a:solidFill>
            <a:srgbClr val="41414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FFFFFF"/>
              </a:solidFill>
              <a:latin typeface="Typ1451-Medium"/>
              <a:cs typeface="Typ1451-Medium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flipV="1">
            <a:off x="4864100" y="3695700"/>
            <a:ext cx="330200" cy="177800"/>
          </a:xfrm>
          <a:prstGeom prst="triangle">
            <a:avLst/>
          </a:prstGeom>
          <a:solidFill>
            <a:srgbClr val="41414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FFFFFF"/>
              </a:solidFill>
              <a:latin typeface="Typ1451-Medium"/>
              <a:cs typeface="Typ1451-Medium"/>
            </a:endParaRPr>
          </a:p>
        </p:txBody>
      </p:sp>
      <p:sp>
        <p:nvSpPr>
          <p:cNvPr id="22" name="Isosceles Triangle 21"/>
          <p:cNvSpPr/>
          <p:nvPr userDrawn="1"/>
        </p:nvSpPr>
        <p:spPr>
          <a:xfrm flipV="1">
            <a:off x="8026400" y="3695700"/>
            <a:ext cx="330200" cy="177800"/>
          </a:xfrm>
          <a:prstGeom prst="triangle">
            <a:avLst/>
          </a:prstGeom>
          <a:solidFill>
            <a:srgbClr val="41414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FFFFFF"/>
              </a:solidFill>
              <a:latin typeface="Typ1451-Medium"/>
              <a:cs typeface="Typ1451-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47800"/>
            <a:ext cx="2057400" cy="2057400"/>
          </a:xfrm>
          <a:prstGeom prst="ellipse">
            <a:avLst/>
          </a:prstGeom>
          <a:solidFill>
            <a:srgbClr val="41414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00500" y="1447800"/>
            <a:ext cx="2057400" cy="2057400"/>
          </a:xfrm>
          <a:prstGeom prst="ellipse">
            <a:avLst/>
          </a:prstGeom>
          <a:solidFill>
            <a:srgbClr val="41414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162800" y="1447800"/>
            <a:ext cx="2057400" cy="2057400"/>
          </a:xfrm>
          <a:prstGeom prst="ellipse">
            <a:avLst/>
          </a:prstGeom>
          <a:solidFill>
            <a:srgbClr val="41414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0005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1628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31843090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41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41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19050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9050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6421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9050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9050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6421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13977982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4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4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4798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4798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53234468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6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46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79600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0482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267970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295525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50482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67970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86510380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8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8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342265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383857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381000" y="1502012"/>
            <a:ext cx="6934200" cy="4920703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99172524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1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1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10080625" cy="6772275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60620370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3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3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349461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2774112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0044637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6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6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4287408" cy="3048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buClrTx/>
              <a:buFont typeface="Lucida Grande"/>
              <a:buChar char="‑"/>
              <a:defRPr sz="1800" b="0" baseline="0">
                <a:solidFill>
                  <a:srgbClr val="41414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4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4956677" y="1435748"/>
            <a:ext cx="4857247" cy="4738065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36468173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8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8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02578984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933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3662362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4245" y="4861977"/>
            <a:ext cx="9499680" cy="627192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5489168"/>
            <a:ext cx="292100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6456784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0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0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97511869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3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63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 baseline="0">
                <a:solidFill>
                  <a:srgbClr val="41414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GB" dirty="0" smtClean="0"/>
              <a:t>Thank you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378755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77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4616450" cy="461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</p:spTree>
    <p:extLst>
      <p:ext uri="{BB962C8B-B14F-4D97-AF65-F5344CB8AC3E}">
        <p14:creationId xmlns:p14="http://schemas.microsoft.com/office/powerpoint/2010/main" val="3641186190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701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3662362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4245" y="4861977"/>
            <a:ext cx="9499680" cy="627192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5489168"/>
            <a:ext cx="292100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18335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2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2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908400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0366748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5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5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545" y="192085"/>
            <a:ext cx="8359855" cy="418272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7790976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7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9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7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sosceles Triangle 19"/>
          <p:cNvSpPr/>
          <p:nvPr userDrawn="1"/>
        </p:nvSpPr>
        <p:spPr>
          <a:xfrm flipV="1">
            <a:off x="17018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flipV="1">
            <a:off x="48641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2" name="Isosceles Triangle 21"/>
          <p:cNvSpPr/>
          <p:nvPr userDrawn="1"/>
        </p:nvSpPr>
        <p:spPr>
          <a:xfrm flipV="1">
            <a:off x="80264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005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1628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0005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1628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70355714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80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80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19050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9050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6421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9050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9050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6421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62466766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2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2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4798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4798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298601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84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84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79600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0482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267970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295525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50482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67970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0073467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6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96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908400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9503584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7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87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342265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383857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381000" y="1502012"/>
            <a:ext cx="6934200" cy="4920703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23908652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89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89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10080625" cy="6772275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33932631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2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2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349461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2774112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10785824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94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94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4287408" cy="3048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buFont typeface="Lucida Grande"/>
              <a:buChar char="‑"/>
              <a:defRPr sz="18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4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4956677" y="1435748"/>
            <a:ext cx="4857247" cy="4738065"/>
          </a:xfrm>
          <a:prstGeom prst="rect">
            <a:avLst/>
          </a:prstGeom>
          <a:noFill/>
        </p:spPr>
        <p:txBody>
          <a:bodyPr/>
          <a:lstStyle>
            <a:lvl1pPr>
              <a:defRPr b="0"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38291500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6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6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18445677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9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9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6953376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01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01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GB" dirty="0" smtClean="0"/>
              <a:t>Thank you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1014803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085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4616450" cy="461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</p:spTree>
    <p:extLst>
      <p:ext uri="{BB962C8B-B14F-4D97-AF65-F5344CB8AC3E}">
        <p14:creationId xmlns:p14="http://schemas.microsoft.com/office/powerpoint/2010/main" val="3430898366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nime 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109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8" descr="Cinime_horizontal_blue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DCM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yummi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6400"/>
            <a:ext cx="3662362" cy="366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258763" y="6950075"/>
            <a:ext cx="1584325" cy="4508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dirty="0">
              <a:solidFill>
                <a:srgbClr val="414141"/>
              </a:solidFill>
              <a:latin typeface="Typ1451-Medium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4245" y="4861977"/>
            <a:ext cx="9499680" cy="627192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5489168"/>
            <a:ext cx="292100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654746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3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3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14245" y="908400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3386303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98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98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545" y="192085"/>
            <a:ext cx="8359855" cy="418272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5192522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16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16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545" y="192085"/>
            <a:ext cx="8359855" cy="418272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0564384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18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9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18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sosceles Triangle 19"/>
          <p:cNvSpPr/>
          <p:nvPr userDrawn="1"/>
        </p:nvSpPr>
        <p:spPr>
          <a:xfrm flipV="1">
            <a:off x="17018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flipV="1">
            <a:off x="48641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2" name="Isosceles Triangle 21"/>
          <p:cNvSpPr/>
          <p:nvPr userDrawn="1"/>
        </p:nvSpPr>
        <p:spPr>
          <a:xfrm flipV="1">
            <a:off x="80264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005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1628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0005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1628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2319146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0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0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19050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9050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6421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9050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9050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6421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70448868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3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23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4798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4798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02244566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5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25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79600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0482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267970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295525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50482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67970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81647602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28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28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342265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383857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381000" y="1502012"/>
            <a:ext cx="6934200" cy="4920703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94502209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30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30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10080625" cy="6772275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2884594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2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32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6349461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2774112" y="1435771"/>
            <a:ext cx="3464463" cy="4738042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51287218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con and tex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35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35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14245" y="2650622"/>
            <a:ext cx="4287408" cy="304800"/>
          </a:xfrm>
          <a:prstGeom prst="rect">
            <a:avLst/>
          </a:prstGeom>
        </p:spPr>
        <p:txBody>
          <a:bodyPr/>
          <a:lstStyle>
            <a:lvl1pPr marL="177800" indent="-177800">
              <a:lnSpc>
                <a:spcPct val="100000"/>
              </a:lnSpc>
              <a:buFont typeface="Lucida Grande"/>
              <a:buChar char="‑"/>
              <a:defRPr sz="18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  <p:sp>
        <p:nvSpPr>
          <p:cNvPr id="14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4956677" y="1435748"/>
            <a:ext cx="4857247" cy="4738065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rgbClr val="FFFFFF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GB" noProof="0" dirty="0" smtClean="0"/>
              <a:t>Drag picture to placeholder or click icon to add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41769408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37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37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539192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08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9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09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Isosceles Triangle 19"/>
          <p:cNvSpPr/>
          <p:nvPr userDrawn="1"/>
        </p:nvSpPr>
        <p:spPr>
          <a:xfrm flipV="1">
            <a:off x="17018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1" name="Isosceles Triangle 20"/>
          <p:cNvSpPr/>
          <p:nvPr userDrawn="1"/>
        </p:nvSpPr>
        <p:spPr>
          <a:xfrm flipV="1">
            <a:off x="48641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2" name="Isosceles Triangle 21"/>
          <p:cNvSpPr/>
          <p:nvPr userDrawn="1"/>
        </p:nvSpPr>
        <p:spPr>
          <a:xfrm flipV="1">
            <a:off x="8026400" y="3695700"/>
            <a:ext cx="330200" cy="177800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GB" sz="1400" dirty="0">
              <a:solidFill>
                <a:srgbClr val="414141"/>
              </a:solidFill>
              <a:latin typeface="Typ1451-Medium"/>
              <a:cs typeface="Typ1451-Medium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382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005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162800" y="1447800"/>
            <a:ext cx="2057400" cy="2057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bg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0005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7162800" y="4051300"/>
            <a:ext cx="2057400" cy="20574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lIns="0" tIns="0" rIns="0" bIns="0" anchor="ctr" anchorCtr="1"/>
          <a:lstStyle>
            <a:lvl1pPr algn="ctr">
              <a:lnSpc>
                <a:spcPct val="100000"/>
              </a:lnSpc>
              <a:defRPr sz="14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768906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0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0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0250090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424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42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245" y="192086"/>
            <a:ext cx="9499680" cy="82675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GB" dirty="0" smtClean="0"/>
              <a:t>Thank you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497415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32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33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19050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510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9050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642100" y="4162425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9050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19050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6642100" y="46164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924321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56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57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6421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479800" y="18605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6421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479800" y="2305050"/>
            <a:ext cx="29210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0242706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80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8" descr="Cinime_horizontal_blue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 descr="DCM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1" descr="yummi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81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245" y="192086"/>
            <a:ext cx="9499680" cy="649239"/>
          </a:xfrm>
          <a:prstGeom prst="rect">
            <a:avLst/>
          </a:prstGeom>
        </p:spPr>
        <p:txBody>
          <a:bodyPr/>
          <a:lstStyle>
            <a:lvl1pPr>
              <a:defRPr sz="35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30200" y="1879600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0482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267970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30200" y="2295525"/>
            <a:ext cx="22606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50482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67970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7423150" y="1879600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2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423150" y="2295525"/>
            <a:ext cx="2260800" cy="304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000" b="0" baseline="0">
                <a:solidFill>
                  <a:schemeClr val="tx1"/>
                </a:solidFill>
                <a:latin typeface="+mn-lt"/>
                <a:ea typeface="Typ1451-Medium"/>
                <a:cs typeface="Typ1451-Medium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14245" y="730885"/>
            <a:ext cx="9499680" cy="28427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yp1451-Medium"/>
                <a:ea typeface="Typ1451-Medium"/>
                <a:cs typeface="Typ1451-Medium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085381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3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image" Target="../media/image8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1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vmlDrawing" Target="../drawings/vmlDrawing19.v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10.emf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32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62.xml"/><Relationship Id="rId3" Type="http://schemas.openxmlformats.org/officeDocument/2006/relationships/slideLayout" Target="../slideLayouts/slideLayout34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vmlDrawing" Target="../drawings/vmlDrawing35.v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image" Target="../media/image11.em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41.xml"/><Relationship Id="rId19" Type="http://schemas.openxmlformats.org/officeDocument/2006/relationships/oleObject" Target="../embeddings/oleObject61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tags" Target="../tags/tag91.xml"/><Relationship Id="rId3" Type="http://schemas.openxmlformats.org/officeDocument/2006/relationships/slideLayout" Target="../slideLayouts/slideLayout4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vmlDrawing" Target="../drawings/vmlDrawing51.vml"/><Relationship Id="rId2" Type="http://schemas.openxmlformats.org/officeDocument/2006/relationships/slideLayout" Target="../slideLayouts/slideLayout48.xml"/><Relationship Id="rId16" Type="http://schemas.openxmlformats.org/officeDocument/2006/relationships/theme" Target="../theme/theme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image" Target="../media/image12.emf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56.xml"/><Relationship Id="rId19" Type="http://schemas.openxmlformats.org/officeDocument/2006/relationships/oleObject" Target="../embeddings/oleObject90.bin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pic>
        <p:nvPicPr>
          <p:cNvPr id="4" name="Picture 3" descr="dcm directors club_logo[1].pdf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3749" y="7024532"/>
            <a:ext cx="143557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885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8" descr="Cinime_horizontal_blue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10" descr="DCM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11" descr="yummi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94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defTabSz="960438" rtl="0" eaLnBrk="1" fontAlgn="base" hangingPunct="1">
        <a:spcBef>
          <a:spcPct val="0"/>
        </a:spcBef>
        <a:spcAft>
          <a:spcPct val="0"/>
        </a:spcAft>
        <a:defRPr sz="4800" kern="1200">
          <a:ln w="22225">
            <a:noFill/>
            <a:prstDash val="solid"/>
          </a:ln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960438" rtl="0" eaLnBrk="1" fontAlgn="base" hangingPunct="1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960438" rtl="0" eaLnBrk="1" fontAlgn="base" hangingPunct="1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b="1" kern="1200"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eaLnBrk="1" fontAlgn="base" hangingPunct="1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kern="1200">
          <a:solidFill>
            <a:schemeClr val="bg1"/>
          </a:solidFill>
          <a:latin typeface="+mn-lt"/>
          <a:ea typeface="ＭＳ Ｐゴシック" charset="0"/>
          <a:cs typeface="+mn-cs"/>
        </a:defRPr>
      </a:lvl2pPr>
      <a:lvl3pPr algn="l" defTabSz="960438" rtl="0" eaLnBrk="1" fontAlgn="base" hangingPunct="1">
        <a:lnSpc>
          <a:spcPts val="15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b="1" kern="1200">
          <a:solidFill>
            <a:schemeClr val="bg1"/>
          </a:solidFill>
          <a:latin typeface="+mn-lt"/>
          <a:ea typeface="ＭＳ Ｐゴシック" charset="0"/>
          <a:cs typeface="+mn-cs"/>
        </a:defRPr>
      </a:lvl3pPr>
      <a:lvl4pPr algn="l" defTabSz="960438" rtl="0" eaLnBrk="1" fontAlgn="base" hangingPunct="1">
        <a:lnSpc>
          <a:spcPts val="16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kern="1200">
          <a:solidFill>
            <a:schemeClr val="bg1"/>
          </a:solidFill>
          <a:latin typeface="+mn-lt"/>
          <a:ea typeface="ＭＳ Ｐゴシック" charset="0"/>
          <a:cs typeface="+mn-cs"/>
        </a:defRPr>
      </a:lvl4pPr>
      <a:lvl5pPr algn="l" defTabSz="960438" rtl="0" eaLnBrk="1" fontAlgn="base" hangingPunct="1">
        <a:lnSpc>
          <a:spcPts val="11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000" kern="1200">
          <a:solidFill>
            <a:schemeClr val="bg1"/>
          </a:solidFill>
          <a:latin typeface="+mn-lt"/>
          <a:ea typeface="ＭＳ Ｐゴシック" charset="0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269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3" name="Picture 8" descr="Cinime_horizontal_blue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10" descr="DCM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11" descr="yummi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6" name="Picture 1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7991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defTabSz="960438" rtl="0" fontAlgn="base">
        <a:spcBef>
          <a:spcPct val="0"/>
        </a:spcBef>
        <a:spcAft>
          <a:spcPct val="0"/>
        </a:spcAft>
        <a:defRPr sz="4800" kern="1200">
          <a:ln w="22225">
            <a:noFill/>
            <a:prstDash val="solid"/>
          </a:ln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b="1" kern="1200"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kern="1200">
          <a:solidFill>
            <a:schemeClr val="bg1"/>
          </a:solidFill>
          <a:latin typeface="+mn-lt"/>
          <a:ea typeface="ＭＳ Ｐゴシック" charset="0"/>
          <a:cs typeface="+mn-cs"/>
        </a:defRPr>
      </a:lvl2pPr>
      <a:lvl3pPr algn="l" defTabSz="960438" rtl="0" fontAlgn="base">
        <a:lnSpc>
          <a:spcPts val="15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b="1" kern="1200">
          <a:solidFill>
            <a:schemeClr val="bg1"/>
          </a:solidFill>
          <a:latin typeface="+mn-lt"/>
          <a:ea typeface="ＭＳ Ｐゴシック" charset="0"/>
          <a:cs typeface="+mn-cs"/>
        </a:defRPr>
      </a:lvl3pPr>
      <a:lvl4pPr algn="l" defTabSz="960438" rtl="0" fontAlgn="base">
        <a:lnSpc>
          <a:spcPts val="16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kern="1200">
          <a:solidFill>
            <a:schemeClr val="bg1"/>
          </a:solidFill>
          <a:latin typeface="+mn-lt"/>
          <a:ea typeface="ＭＳ Ｐゴシック" charset="0"/>
          <a:cs typeface="+mn-cs"/>
        </a:defRPr>
      </a:lvl4pPr>
      <a:lvl5pPr algn="l" defTabSz="960438" rtl="0" fontAlgn="base">
        <a:lnSpc>
          <a:spcPts val="11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000" kern="1200">
          <a:solidFill>
            <a:schemeClr val="bg1"/>
          </a:solidFill>
          <a:latin typeface="+mn-lt"/>
          <a:ea typeface="ＭＳ Ｐゴシック" charset="0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53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699" name="Picture 8" descr="Cinime_horizontal_blue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0" name="Picture 10" descr="DCM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1" name="Picture 11" descr="yummi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2" name="Picture 12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090150" cy="676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6622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defTabSz="960438" rtl="0" fontAlgn="base">
        <a:spcBef>
          <a:spcPct val="0"/>
        </a:spcBef>
        <a:spcAft>
          <a:spcPct val="0"/>
        </a:spcAft>
        <a:defRPr sz="4800" kern="1200">
          <a:ln w="22225">
            <a:noFill/>
            <a:prstDash val="solid"/>
          </a:ln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b="1" kern="1200"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kern="1200">
          <a:solidFill>
            <a:schemeClr val="bg1"/>
          </a:solidFill>
          <a:latin typeface="+mn-lt"/>
          <a:ea typeface="ＭＳ Ｐゴシック" charset="0"/>
          <a:cs typeface="+mn-cs"/>
        </a:defRPr>
      </a:lvl2pPr>
      <a:lvl3pPr algn="l" defTabSz="960438" rtl="0" fontAlgn="base">
        <a:lnSpc>
          <a:spcPts val="15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b="1" kern="1200">
          <a:solidFill>
            <a:schemeClr val="bg1"/>
          </a:solidFill>
          <a:latin typeface="+mn-lt"/>
          <a:ea typeface="ＭＳ Ｐゴシック" charset="0"/>
          <a:cs typeface="+mn-cs"/>
        </a:defRPr>
      </a:lvl3pPr>
      <a:lvl4pPr algn="l" defTabSz="960438" rtl="0" fontAlgn="base">
        <a:lnSpc>
          <a:spcPts val="16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kern="1200">
          <a:solidFill>
            <a:schemeClr val="bg1"/>
          </a:solidFill>
          <a:latin typeface="+mn-lt"/>
          <a:ea typeface="ＭＳ Ｐゴシック" charset="0"/>
          <a:cs typeface="+mn-cs"/>
        </a:defRPr>
      </a:lvl4pPr>
      <a:lvl5pPr algn="l" defTabSz="960438" rtl="0" fontAlgn="base">
        <a:lnSpc>
          <a:spcPts val="11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000" kern="1200">
          <a:solidFill>
            <a:schemeClr val="bg1"/>
          </a:solidFill>
          <a:latin typeface="+mn-lt"/>
          <a:ea typeface="ＭＳ Ｐゴシック" charset="0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70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061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371" name="Picture 8" descr="Cinime_horizontal_blue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991350"/>
            <a:ext cx="13081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2" name="Picture 10" descr="DCM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9700" y="6991350"/>
            <a:ext cx="106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3" name="Picture 11" descr="yummi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088" y="7035800"/>
            <a:ext cx="760412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4" name="Picture 6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10093325" cy="677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806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  <p:sldLayoutId id="2147484028" r:id="rId15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defTabSz="960438" rtl="0" fontAlgn="base">
        <a:spcBef>
          <a:spcPct val="0"/>
        </a:spcBef>
        <a:spcAft>
          <a:spcPct val="0"/>
        </a:spcAft>
        <a:defRPr sz="4800" kern="1200">
          <a:ln w="22225">
            <a:noFill/>
            <a:prstDash val="solid"/>
          </a:ln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960438" rtl="0" fontAlgn="base">
        <a:spcBef>
          <a:spcPct val="0"/>
        </a:spcBef>
        <a:spcAft>
          <a:spcPct val="0"/>
        </a:spcAft>
        <a:defRPr sz="48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b="1" kern="1200">
          <a:solidFill>
            <a:schemeClr val="bg1"/>
          </a:solidFill>
          <a:latin typeface="+mn-lt"/>
          <a:ea typeface="ＭＳ Ｐゴシック" charset="0"/>
          <a:cs typeface="ＭＳ Ｐゴシック" charset="0"/>
        </a:defRPr>
      </a:lvl1pPr>
      <a:lvl2pPr algn="l" defTabSz="960438" rtl="0" fontAlgn="base">
        <a:lnSpc>
          <a:spcPts val="19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kern="1200">
          <a:solidFill>
            <a:schemeClr val="bg1"/>
          </a:solidFill>
          <a:latin typeface="+mn-lt"/>
          <a:ea typeface="ＭＳ Ｐゴシック" charset="0"/>
          <a:cs typeface="+mn-cs"/>
        </a:defRPr>
      </a:lvl2pPr>
      <a:lvl3pPr algn="l" defTabSz="960438" rtl="0" fontAlgn="base">
        <a:lnSpc>
          <a:spcPts val="15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b="1" kern="1200">
          <a:solidFill>
            <a:schemeClr val="bg1"/>
          </a:solidFill>
          <a:latin typeface="+mn-lt"/>
          <a:ea typeface="ＭＳ Ｐゴシック" charset="0"/>
          <a:cs typeface="+mn-cs"/>
        </a:defRPr>
      </a:lvl3pPr>
      <a:lvl4pPr algn="l" defTabSz="960438" rtl="0" fontAlgn="base">
        <a:lnSpc>
          <a:spcPts val="16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400" kern="1200">
          <a:solidFill>
            <a:schemeClr val="bg1"/>
          </a:solidFill>
          <a:latin typeface="+mn-lt"/>
          <a:ea typeface="ＭＳ Ｐゴシック" charset="0"/>
          <a:cs typeface="+mn-cs"/>
        </a:defRPr>
      </a:lvl4pPr>
      <a:lvl5pPr algn="l" defTabSz="960438" rtl="0" fontAlgn="base">
        <a:lnSpc>
          <a:spcPts val="1100"/>
        </a:lnSpc>
        <a:spcBef>
          <a:spcPct val="0"/>
        </a:spcBef>
        <a:spcAft>
          <a:spcPct val="0"/>
        </a:spcAft>
        <a:buClr>
          <a:srgbClr val="FFFFFF"/>
        </a:buClr>
        <a:buSzPct val="100000"/>
        <a:buFont typeface="Arial" charset="0"/>
        <a:defRPr sz="1000" kern="1200">
          <a:solidFill>
            <a:schemeClr val="bg1"/>
          </a:solidFill>
          <a:latin typeface="+mn-lt"/>
          <a:ea typeface="ＭＳ Ｐゴシック" charset="0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g"/><Relationship Id="rId2" Type="http://schemas.openxmlformats.org/officeDocument/2006/relationships/tags" Target="../tags/tag12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virgin trains_logo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191" y="6915360"/>
            <a:ext cx="1296810" cy="500462"/>
          </a:xfrm>
          <a:prstGeom prst="rect">
            <a:avLst/>
          </a:prstGeom>
        </p:spPr>
      </p:pic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GB" dirty="0" smtClean="0">
                <a:solidFill>
                  <a:srgbClr val="FFFFFF"/>
                </a:solidFill>
              </a:rPr>
              <a:t>Virgin trains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>
                <a:solidFill>
                  <a:srgbClr val="FFFFFF"/>
                </a:solidFill>
              </a:rPr>
              <a:t>Cinemappe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itle 6"/>
          <p:cNvSpPr txBox="1">
            <a:spLocks/>
          </p:cNvSpPr>
          <p:nvPr/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VIRGIN Trains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164984" y="725361"/>
            <a:ext cx="9328120" cy="237225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>
                <a:solidFill>
                  <a:schemeClr val="bg1"/>
                </a:solidFill>
              </a:rPr>
              <a:t>Cinemappe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66898" y="1803812"/>
            <a:ext cx="3071813" cy="484463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400" dirty="0" smtClean="0"/>
              <a:t>Background</a:t>
            </a:r>
          </a:p>
          <a:p>
            <a:pPr>
              <a:lnSpc>
                <a:spcPct val="100000"/>
              </a:lnSpc>
            </a:pPr>
            <a:endParaRPr lang="en-GB" sz="1100" b="0" dirty="0" smtClean="0"/>
          </a:p>
          <a:p>
            <a:pPr fontAlgn="base"/>
            <a:r>
              <a:rPr lang="en-GB" sz="1300" b="0" dirty="0"/>
              <a:t>Having a very specific site footprint of railway stations, Digital Cinema Media (DCM) created a new bespoke Audience Guaranteed Package (AGP) to enable Virgin Trains to get as close as possible to its target audience along its own footprint of railway stations.</a:t>
            </a:r>
          </a:p>
          <a:p>
            <a:pPr>
              <a:lnSpc>
                <a:spcPct val="100000"/>
              </a:lnSpc>
            </a:pPr>
            <a:endParaRPr lang="en-GB" sz="1100" b="0" dirty="0" smtClean="0"/>
          </a:p>
          <a:p>
            <a:pPr>
              <a:lnSpc>
                <a:spcPct val="100000"/>
              </a:lnSpc>
            </a:pPr>
            <a:endParaRPr lang="en-GB" sz="1100" b="0" dirty="0"/>
          </a:p>
          <a:p>
            <a:pPr>
              <a:lnSpc>
                <a:spcPct val="100000"/>
              </a:lnSpc>
            </a:pPr>
            <a:r>
              <a:rPr lang="en-GB" sz="1400" dirty="0" smtClean="0"/>
              <a:t>Idea</a:t>
            </a:r>
          </a:p>
          <a:p>
            <a:pPr>
              <a:lnSpc>
                <a:spcPct val="100000"/>
              </a:lnSpc>
            </a:pPr>
            <a:endParaRPr lang="en-GB" sz="1100" b="0" dirty="0"/>
          </a:p>
          <a:p>
            <a:pPr fontAlgn="base"/>
            <a:r>
              <a:rPr lang="en-GB" sz="1300" b="0" dirty="0"/>
              <a:t>Using </a:t>
            </a:r>
            <a:r>
              <a:rPr lang="en-GB" sz="1300" b="0" dirty="0" err="1"/>
              <a:t>Cinemapper</a:t>
            </a:r>
            <a:r>
              <a:rPr lang="en-GB" sz="1300" b="0" dirty="0"/>
              <a:t>, DCM’s proximity planning tool, DCM tracked all Virgin train stations that were within a 20 minute drive time of a DCM cinema. 42 out of 43 Virgin train stations were covered – a 98% reach, with the whole campaign reaching a total of 1.7m DCM admissions. Providing flexibility in this way allowed Virgin Trains to target a relevant audience locally, yet on a national scale. </a:t>
            </a:r>
          </a:p>
          <a:p>
            <a:pPr>
              <a:lnSpc>
                <a:spcPct val="100000"/>
              </a:lnSpc>
            </a:pPr>
            <a:endParaRPr lang="en-GB" sz="1300" b="0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  <a:p>
            <a:pPr>
              <a:lnSpc>
                <a:spcPct val="100000"/>
              </a:lnSpc>
            </a:pPr>
            <a:endParaRPr lang="en-GB" sz="1100" b="0" dirty="0" smtClean="0"/>
          </a:p>
        </p:txBody>
      </p:sp>
      <p:pic>
        <p:nvPicPr>
          <p:cNvPr id="18" name="Picture Placeholder 25" descr="virgin trains_3.jpg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" r="1171"/>
          <a:stretch/>
        </p:blipFill>
        <p:spPr>
          <a:xfrm>
            <a:off x="3614057" y="1318925"/>
            <a:ext cx="6433944" cy="4341646"/>
          </a:xfrm>
        </p:spPr>
      </p:pic>
      <p:sp>
        <p:nvSpPr>
          <p:cNvPr id="20" name="Freeform 289"/>
          <p:cNvSpPr>
            <a:spLocks noEditPoints="1"/>
          </p:cNvSpPr>
          <p:nvPr/>
        </p:nvSpPr>
        <p:spPr bwMode="auto">
          <a:xfrm>
            <a:off x="217469" y="1160012"/>
            <a:ext cx="396000" cy="396000"/>
          </a:xfrm>
          <a:custGeom>
            <a:avLst/>
            <a:gdLst>
              <a:gd name="T0" fmla="*/ 434376 w 726"/>
              <a:gd name="T1" fmla="*/ 11983 h 726"/>
              <a:gd name="T2" fmla="*/ 239656 w 726"/>
              <a:gd name="T3" fmla="*/ 92867 h 726"/>
              <a:gd name="T4" fmla="*/ 92867 w 726"/>
              <a:gd name="T5" fmla="*/ 239656 h 726"/>
              <a:gd name="T6" fmla="*/ 11983 w 726"/>
              <a:gd name="T7" fmla="*/ 434376 h 726"/>
              <a:gd name="T8" fmla="*/ 2996 w 726"/>
              <a:gd name="T9" fmla="*/ 599139 h 726"/>
              <a:gd name="T10" fmla="*/ 65905 w 726"/>
              <a:gd name="T11" fmla="*/ 802847 h 726"/>
              <a:gd name="T12" fmla="*/ 197716 w 726"/>
              <a:gd name="T13" fmla="*/ 961619 h 726"/>
              <a:gd name="T14" fmla="*/ 383449 w 726"/>
              <a:gd name="T15" fmla="*/ 1063472 h 726"/>
              <a:gd name="T16" fmla="*/ 545216 w 726"/>
              <a:gd name="T17" fmla="*/ 1087438 h 726"/>
              <a:gd name="T18" fmla="*/ 754915 w 726"/>
              <a:gd name="T19" fmla="*/ 1045498 h 726"/>
              <a:gd name="T20" fmla="*/ 928665 w 726"/>
              <a:gd name="T21" fmla="*/ 928666 h 726"/>
              <a:gd name="T22" fmla="*/ 1021532 w 726"/>
              <a:gd name="T23" fmla="*/ 802847 h 726"/>
              <a:gd name="T24" fmla="*/ 1084441 w 726"/>
              <a:gd name="T25" fmla="*/ 599139 h 726"/>
              <a:gd name="T26" fmla="*/ 1075454 w 726"/>
              <a:gd name="T27" fmla="*/ 434376 h 726"/>
              <a:gd name="T28" fmla="*/ 994570 w 726"/>
              <a:gd name="T29" fmla="*/ 239656 h 726"/>
              <a:gd name="T30" fmla="*/ 847781 w 726"/>
              <a:gd name="T31" fmla="*/ 92867 h 726"/>
              <a:gd name="T32" fmla="*/ 653061 w 726"/>
              <a:gd name="T33" fmla="*/ 11983 h 726"/>
              <a:gd name="T34" fmla="*/ 374462 w 726"/>
              <a:gd name="T35" fmla="*/ 641079 h 726"/>
              <a:gd name="T36" fmla="*/ 353492 w 726"/>
              <a:gd name="T37" fmla="*/ 686015 h 726"/>
              <a:gd name="T38" fmla="*/ 308557 w 726"/>
              <a:gd name="T39" fmla="*/ 703989 h 726"/>
              <a:gd name="T40" fmla="*/ 272608 w 726"/>
              <a:gd name="T41" fmla="*/ 692006 h 726"/>
              <a:gd name="T42" fmla="*/ 242651 w 726"/>
              <a:gd name="T43" fmla="*/ 653062 h 726"/>
              <a:gd name="T44" fmla="*/ 239656 w 726"/>
              <a:gd name="T45" fmla="*/ 635088 h 726"/>
              <a:gd name="T46" fmla="*/ 260625 w 726"/>
              <a:gd name="T47" fmla="*/ 587157 h 726"/>
              <a:gd name="T48" fmla="*/ 308557 w 726"/>
              <a:gd name="T49" fmla="*/ 566187 h 726"/>
              <a:gd name="T50" fmla="*/ 344505 w 726"/>
              <a:gd name="T51" fmla="*/ 578170 h 726"/>
              <a:gd name="T52" fmla="*/ 374462 w 726"/>
              <a:gd name="T53" fmla="*/ 620109 h 726"/>
              <a:gd name="T54" fmla="*/ 856769 w 726"/>
              <a:gd name="T55" fmla="*/ 641079 h 726"/>
              <a:gd name="T56" fmla="*/ 841790 w 726"/>
              <a:gd name="T57" fmla="*/ 677028 h 726"/>
              <a:gd name="T58" fmla="*/ 802846 w 726"/>
              <a:gd name="T59" fmla="*/ 700993 h 726"/>
              <a:gd name="T60" fmla="*/ 763902 w 726"/>
              <a:gd name="T61" fmla="*/ 697997 h 726"/>
              <a:gd name="T62" fmla="*/ 727954 w 726"/>
              <a:gd name="T63" fmla="*/ 665045 h 726"/>
              <a:gd name="T64" fmla="*/ 721962 w 726"/>
              <a:gd name="T65" fmla="*/ 635088 h 726"/>
              <a:gd name="T66" fmla="*/ 733945 w 726"/>
              <a:gd name="T67" fmla="*/ 596144 h 726"/>
              <a:gd name="T68" fmla="*/ 775885 w 726"/>
              <a:gd name="T69" fmla="*/ 569182 h 726"/>
              <a:gd name="T70" fmla="*/ 814829 w 726"/>
              <a:gd name="T71" fmla="*/ 572178 h 726"/>
              <a:gd name="T72" fmla="*/ 850777 w 726"/>
              <a:gd name="T73" fmla="*/ 608126 h 726"/>
              <a:gd name="T74" fmla="*/ 856769 w 726"/>
              <a:gd name="T75" fmla="*/ 641079 h 726"/>
              <a:gd name="T76" fmla="*/ 892717 w 726"/>
              <a:gd name="T77" fmla="*/ 641079 h 726"/>
              <a:gd name="T78" fmla="*/ 892717 w 726"/>
              <a:gd name="T79" fmla="*/ 614118 h 726"/>
              <a:gd name="T80" fmla="*/ 847781 w 726"/>
              <a:gd name="T81" fmla="*/ 548213 h 726"/>
              <a:gd name="T82" fmla="*/ 787868 w 726"/>
              <a:gd name="T83" fmla="*/ 530238 h 726"/>
              <a:gd name="T84" fmla="*/ 715971 w 726"/>
              <a:gd name="T85" fmla="*/ 560195 h 726"/>
              <a:gd name="T86" fmla="*/ 686014 w 726"/>
              <a:gd name="T87" fmla="*/ 635088 h 726"/>
              <a:gd name="T88" fmla="*/ 413406 w 726"/>
              <a:gd name="T89" fmla="*/ 641079 h 726"/>
              <a:gd name="T90" fmla="*/ 404419 w 726"/>
              <a:gd name="T91" fmla="*/ 593148 h 726"/>
              <a:gd name="T92" fmla="*/ 347501 w 726"/>
              <a:gd name="T93" fmla="*/ 539225 h 726"/>
              <a:gd name="T94" fmla="*/ 287587 w 726"/>
              <a:gd name="T95" fmla="*/ 533234 h 726"/>
              <a:gd name="T96" fmla="*/ 221681 w 726"/>
              <a:gd name="T97" fmla="*/ 578170 h 726"/>
              <a:gd name="T98" fmla="*/ 203707 w 726"/>
              <a:gd name="T99" fmla="*/ 635088 h 726"/>
              <a:gd name="T100" fmla="*/ 164763 w 726"/>
              <a:gd name="T101" fmla="*/ 617114 h 726"/>
              <a:gd name="T102" fmla="*/ 200712 w 726"/>
              <a:gd name="T103" fmla="*/ 536230 h 726"/>
              <a:gd name="T104" fmla="*/ 257630 w 726"/>
              <a:gd name="T105" fmla="*/ 497286 h 726"/>
              <a:gd name="T106" fmla="*/ 377457 w 726"/>
              <a:gd name="T107" fmla="*/ 476316 h 726"/>
              <a:gd name="T108" fmla="*/ 479311 w 726"/>
              <a:gd name="T109" fmla="*/ 404419 h 726"/>
              <a:gd name="T110" fmla="*/ 512264 w 726"/>
              <a:gd name="T111" fmla="*/ 392436 h 726"/>
              <a:gd name="T112" fmla="*/ 602135 w 726"/>
              <a:gd name="T113" fmla="*/ 383449 h 726"/>
              <a:gd name="T114" fmla="*/ 748924 w 726"/>
              <a:gd name="T115" fmla="*/ 419398 h 726"/>
              <a:gd name="T116" fmla="*/ 856769 w 726"/>
              <a:gd name="T117" fmla="*/ 518256 h 726"/>
              <a:gd name="T118" fmla="*/ 883730 w 726"/>
              <a:gd name="T119" fmla="*/ 539225 h 726"/>
              <a:gd name="T120" fmla="*/ 919678 w 726"/>
              <a:gd name="T121" fmla="*/ 599139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22" name="Freeform 425"/>
          <p:cNvSpPr>
            <a:spLocks noEditPoints="1"/>
          </p:cNvSpPr>
          <p:nvPr/>
        </p:nvSpPr>
        <p:spPr bwMode="auto">
          <a:xfrm>
            <a:off x="1055276" y="1155415"/>
            <a:ext cx="396000" cy="396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23" name="Freeform 106"/>
          <p:cNvSpPr>
            <a:spLocks noEditPoints="1"/>
          </p:cNvSpPr>
          <p:nvPr/>
        </p:nvSpPr>
        <p:spPr bwMode="auto">
          <a:xfrm>
            <a:off x="1487092" y="1167601"/>
            <a:ext cx="396000" cy="396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24" name="Freeform 70"/>
          <p:cNvSpPr>
            <a:spLocks/>
          </p:cNvSpPr>
          <p:nvPr/>
        </p:nvSpPr>
        <p:spPr bwMode="auto">
          <a:xfrm>
            <a:off x="629686" y="1160012"/>
            <a:ext cx="396000" cy="396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82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4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virgin trains_logo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191" y="6915360"/>
            <a:ext cx="1296810" cy="500462"/>
          </a:xfrm>
          <a:prstGeom prst="rect">
            <a:avLst/>
          </a:prstGeom>
        </p:spPr>
      </p:pic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GB" dirty="0" smtClean="0">
                <a:solidFill>
                  <a:srgbClr val="FFFFFF"/>
                </a:solidFill>
              </a:rPr>
              <a:t>Virgin trains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>
                <a:solidFill>
                  <a:srgbClr val="FFFFFF"/>
                </a:solidFill>
              </a:rPr>
              <a:t>Cinemappe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/>
              <a:t>Cinema site matches: mapped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75537" y="806395"/>
            <a:ext cx="9316338" cy="436608"/>
          </a:xfrm>
        </p:spPr>
        <p:txBody>
          <a:bodyPr/>
          <a:lstStyle/>
          <a:p>
            <a:r>
              <a:rPr lang="en-GB" dirty="0" smtClean="0"/>
              <a:t>Virgin Train stations within 20 minute drive time of a cinema – Total DCM</a:t>
            </a:r>
            <a:endParaRPr lang="en-GB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97" r="28255" b="8719"/>
          <a:stretch/>
        </p:blipFill>
        <p:spPr bwMode="auto">
          <a:xfrm>
            <a:off x="266793" y="1191284"/>
            <a:ext cx="8405222" cy="5429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Placeholder 3"/>
          <p:cNvSpPr>
            <a:spLocks noGrp="1"/>
          </p:cNvSpPr>
          <p:nvPr>
            <p:ph type="body" sz="quarter" idx="15"/>
          </p:nvPr>
        </p:nvSpPr>
        <p:spPr bwMode="gray">
          <a:xfrm>
            <a:off x="3489278" y="7055560"/>
            <a:ext cx="4482208" cy="308472"/>
          </a:xfrm>
        </p:spPr>
        <p:txBody>
          <a:bodyPr/>
          <a:lstStyle/>
          <a:p>
            <a:r>
              <a:rPr lang="en-US" dirty="0" smtClean="0"/>
              <a:t>Source:CineMapper. Distance used: 20 minute drive time from a DCM cinema. Postcode list supplied. Accurate as at 14/08/14. Data subject to change.</a:t>
            </a:r>
            <a:r>
              <a:rPr lang="en-GB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80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virgin trains_logo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191" y="6915360"/>
            <a:ext cx="1296810" cy="500462"/>
          </a:xfrm>
          <a:prstGeom prst="rect">
            <a:avLst/>
          </a:prstGeom>
        </p:spPr>
      </p:pic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GB" dirty="0" smtClean="0">
                <a:solidFill>
                  <a:srgbClr val="FFFFFF"/>
                </a:solidFill>
              </a:rPr>
              <a:t>Virgin trains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>
                <a:solidFill>
                  <a:srgbClr val="FFFFFF"/>
                </a:solidFill>
              </a:rPr>
              <a:t>Cinemapper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itle 6"/>
          <p:cNvSpPr txBox="1">
            <a:spLocks/>
          </p:cNvSpPr>
          <p:nvPr/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VIRGIN Trains summary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/>
          <a:lstStyle/>
          <a:p>
            <a:r>
              <a:rPr lang="en-GB" dirty="0" err="1" smtClean="0">
                <a:solidFill>
                  <a:schemeClr val="bg1"/>
                </a:solidFill>
              </a:rPr>
              <a:t>Cinemapper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1" name="Content Placeholder 7"/>
          <p:cNvSpPr txBox="1">
            <a:spLocks/>
          </p:cNvSpPr>
          <p:nvPr/>
        </p:nvSpPr>
        <p:spPr bwMode="gray">
          <a:xfrm>
            <a:off x="5519549" y="4194055"/>
            <a:ext cx="2010164" cy="1054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sz="2400" smtClean="0">
                <a:solidFill>
                  <a:schemeClr val="accent2"/>
                </a:solidFill>
              </a:rPr>
              <a:t>1.7m</a:t>
            </a:r>
            <a:r>
              <a:rPr lang="en-US" sz="2400" smtClean="0">
                <a:solidFill>
                  <a:srgbClr val="8547AD"/>
                </a:solidFill>
              </a:rPr>
              <a:t> </a:t>
            </a:r>
            <a:br>
              <a:rPr lang="en-US" sz="2400" smtClean="0">
                <a:solidFill>
                  <a:srgbClr val="8547AD"/>
                </a:solidFill>
              </a:rPr>
            </a:br>
            <a:r>
              <a:rPr lang="en-US" b="0" smtClean="0">
                <a:solidFill>
                  <a:schemeClr val="bg1"/>
                </a:solidFill>
              </a:rPr>
              <a:t>DCM average weekly admissions</a:t>
            </a:r>
          </a:p>
          <a:p>
            <a:pPr lvl="2"/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25" name="Content Placeholder 8"/>
          <p:cNvSpPr txBox="1">
            <a:spLocks/>
          </p:cNvSpPr>
          <p:nvPr/>
        </p:nvSpPr>
        <p:spPr bwMode="gray">
          <a:xfrm>
            <a:off x="5470248" y="2475222"/>
            <a:ext cx="2322512" cy="10353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ts val="1600"/>
              </a:lnSpc>
            </a:pPr>
            <a:r>
              <a:rPr lang="en-US" sz="2400" dirty="0" smtClean="0">
                <a:solidFill>
                  <a:schemeClr val="accent2"/>
                </a:solidFill>
              </a:rPr>
              <a:t>42</a:t>
            </a:r>
            <a:r>
              <a:rPr lang="en-US" sz="2400" b="0" dirty="0" smtClean="0">
                <a:solidFill>
                  <a:schemeClr val="accent3"/>
                </a:solidFill>
              </a:rPr>
              <a:t/>
            </a:r>
            <a:br>
              <a:rPr lang="en-US" sz="2400" b="0" dirty="0" smtClean="0">
                <a:solidFill>
                  <a:schemeClr val="accent3"/>
                </a:solidFill>
              </a:rPr>
            </a:br>
            <a:r>
              <a:rPr lang="en-US" b="0" dirty="0" smtClean="0">
                <a:solidFill>
                  <a:schemeClr val="bg1"/>
                </a:solidFill>
              </a:rPr>
              <a:t>Virgin train stations covered by DCM cinemas</a:t>
            </a: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26" name="Content Placeholder 9"/>
          <p:cNvSpPr txBox="1">
            <a:spLocks/>
          </p:cNvSpPr>
          <p:nvPr/>
        </p:nvSpPr>
        <p:spPr bwMode="gray">
          <a:xfrm>
            <a:off x="1556114" y="4057936"/>
            <a:ext cx="2314301" cy="1042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ts val="1600"/>
              </a:lnSpc>
            </a:pPr>
            <a:r>
              <a:rPr lang="en-US" sz="2400" smtClean="0">
                <a:solidFill>
                  <a:schemeClr val="accent2"/>
                </a:solidFill>
              </a:rPr>
              <a:t>133</a:t>
            </a:r>
            <a:r>
              <a:rPr lang="en-US" sz="2400" b="0" smtClean="0">
                <a:solidFill>
                  <a:schemeClr val="accent2"/>
                </a:solidFill>
              </a:rPr>
              <a:t> </a:t>
            </a:r>
            <a:r>
              <a:rPr lang="en-US" sz="2800" b="0" smtClean="0">
                <a:solidFill>
                  <a:schemeClr val="accent2"/>
                </a:solidFill>
              </a:rPr>
              <a:t/>
            </a:r>
            <a:br>
              <a:rPr lang="en-US" sz="2800" b="0" smtClean="0">
                <a:solidFill>
                  <a:schemeClr val="accent2"/>
                </a:solidFill>
              </a:rPr>
            </a:br>
            <a:r>
              <a:rPr lang="en-US" b="0" smtClean="0">
                <a:solidFill>
                  <a:schemeClr val="bg1"/>
                </a:solidFill>
              </a:rPr>
              <a:t>DCM cinemas required </a:t>
            </a:r>
            <a:br>
              <a:rPr lang="en-US" b="0" smtClean="0">
                <a:solidFill>
                  <a:schemeClr val="bg1"/>
                </a:solidFill>
              </a:rPr>
            </a:br>
            <a:r>
              <a:rPr lang="en-US" b="0" smtClean="0">
                <a:solidFill>
                  <a:schemeClr val="bg1"/>
                </a:solidFill>
              </a:rPr>
              <a:t>for booking </a:t>
            </a: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27" name="Freeform 289"/>
          <p:cNvSpPr>
            <a:spLocks noEditPoints="1"/>
          </p:cNvSpPr>
          <p:nvPr/>
        </p:nvSpPr>
        <p:spPr bwMode="auto">
          <a:xfrm>
            <a:off x="362750" y="2253794"/>
            <a:ext cx="1087437" cy="1087438"/>
          </a:xfrm>
          <a:custGeom>
            <a:avLst/>
            <a:gdLst>
              <a:gd name="T0" fmla="*/ 434376 w 726"/>
              <a:gd name="T1" fmla="*/ 11983 h 726"/>
              <a:gd name="T2" fmla="*/ 239656 w 726"/>
              <a:gd name="T3" fmla="*/ 92867 h 726"/>
              <a:gd name="T4" fmla="*/ 92867 w 726"/>
              <a:gd name="T5" fmla="*/ 239656 h 726"/>
              <a:gd name="T6" fmla="*/ 11983 w 726"/>
              <a:gd name="T7" fmla="*/ 434376 h 726"/>
              <a:gd name="T8" fmla="*/ 2996 w 726"/>
              <a:gd name="T9" fmla="*/ 599139 h 726"/>
              <a:gd name="T10" fmla="*/ 65905 w 726"/>
              <a:gd name="T11" fmla="*/ 802847 h 726"/>
              <a:gd name="T12" fmla="*/ 197716 w 726"/>
              <a:gd name="T13" fmla="*/ 961619 h 726"/>
              <a:gd name="T14" fmla="*/ 383449 w 726"/>
              <a:gd name="T15" fmla="*/ 1063472 h 726"/>
              <a:gd name="T16" fmla="*/ 545216 w 726"/>
              <a:gd name="T17" fmla="*/ 1087438 h 726"/>
              <a:gd name="T18" fmla="*/ 754915 w 726"/>
              <a:gd name="T19" fmla="*/ 1045498 h 726"/>
              <a:gd name="T20" fmla="*/ 928665 w 726"/>
              <a:gd name="T21" fmla="*/ 928666 h 726"/>
              <a:gd name="T22" fmla="*/ 1021532 w 726"/>
              <a:gd name="T23" fmla="*/ 802847 h 726"/>
              <a:gd name="T24" fmla="*/ 1084441 w 726"/>
              <a:gd name="T25" fmla="*/ 599139 h 726"/>
              <a:gd name="T26" fmla="*/ 1075454 w 726"/>
              <a:gd name="T27" fmla="*/ 434376 h 726"/>
              <a:gd name="T28" fmla="*/ 994570 w 726"/>
              <a:gd name="T29" fmla="*/ 239656 h 726"/>
              <a:gd name="T30" fmla="*/ 847781 w 726"/>
              <a:gd name="T31" fmla="*/ 92867 h 726"/>
              <a:gd name="T32" fmla="*/ 653061 w 726"/>
              <a:gd name="T33" fmla="*/ 11983 h 726"/>
              <a:gd name="T34" fmla="*/ 374462 w 726"/>
              <a:gd name="T35" fmla="*/ 641079 h 726"/>
              <a:gd name="T36" fmla="*/ 353492 w 726"/>
              <a:gd name="T37" fmla="*/ 686015 h 726"/>
              <a:gd name="T38" fmla="*/ 308557 w 726"/>
              <a:gd name="T39" fmla="*/ 703989 h 726"/>
              <a:gd name="T40" fmla="*/ 272608 w 726"/>
              <a:gd name="T41" fmla="*/ 692006 h 726"/>
              <a:gd name="T42" fmla="*/ 242651 w 726"/>
              <a:gd name="T43" fmla="*/ 653062 h 726"/>
              <a:gd name="T44" fmla="*/ 239656 w 726"/>
              <a:gd name="T45" fmla="*/ 635088 h 726"/>
              <a:gd name="T46" fmla="*/ 260625 w 726"/>
              <a:gd name="T47" fmla="*/ 587157 h 726"/>
              <a:gd name="T48" fmla="*/ 308557 w 726"/>
              <a:gd name="T49" fmla="*/ 566187 h 726"/>
              <a:gd name="T50" fmla="*/ 344505 w 726"/>
              <a:gd name="T51" fmla="*/ 578170 h 726"/>
              <a:gd name="T52" fmla="*/ 374462 w 726"/>
              <a:gd name="T53" fmla="*/ 620109 h 726"/>
              <a:gd name="T54" fmla="*/ 856769 w 726"/>
              <a:gd name="T55" fmla="*/ 641079 h 726"/>
              <a:gd name="T56" fmla="*/ 841790 w 726"/>
              <a:gd name="T57" fmla="*/ 677028 h 726"/>
              <a:gd name="T58" fmla="*/ 802846 w 726"/>
              <a:gd name="T59" fmla="*/ 700993 h 726"/>
              <a:gd name="T60" fmla="*/ 763902 w 726"/>
              <a:gd name="T61" fmla="*/ 697997 h 726"/>
              <a:gd name="T62" fmla="*/ 727954 w 726"/>
              <a:gd name="T63" fmla="*/ 665045 h 726"/>
              <a:gd name="T64" fmla="*/ 721962 w 726"/>
              <a:gd name="T65" fmla="*/ 635088 h 726"/>
              <a:gd name="T66" fmla="*/ 733945 w 726"/>
              <a:gd name="T67" fmla="*/ 596144 h 726"/>
              <a:gd name="T68" fmla="*/ 775885 w 726"/>
              <a:gd name="T69" fmla="*/ 569182 h 726"/>
              <a:gd name="T70" fmla="*/ 814829 w 726"/>
              <a:gd name="T71" fmla="*/ 572178 h 726"/>
              <a:gd name="T72" fmla="*/ 850777 w 726"/>
              <a:gd name="T73" fmla="*/ 608126 h 726"/>
              <a:gd name="T74" fmla="*/ 856769 w 726"/>
              <a:gd name="T75" fmla="*/ 641079 h 726"/>
              <a:gd name="T76" fmla="*/ 892717 w 726"/>
              <a:gd name="T77" fmla="*/ 641079 h 726"/>
              <a:gd name="T78" fmla="*/ 892717 w 726"/>
              <a:gd name="T79" fmla="*/ 614118 h 726"/>
              <a:gd name="T80" fmla="*/ 847781 w 726"/>
              <a:gd name="T81" fmla="*/ 548213 h 726"/>
              <a:gd name="T82" fmla="*/ 787868 w 726"/>
              <a:gd name="T83" fmla="*/ 530238 h 726"/>
              <a:gd name="T84" fmla="*/ 715971 w 726"/>
              <a:gd name="T85" fmla="*/ 560195 h 726"/>
              <a:gd name="T86" fmla="*/ 686014 w 726"/>
              <a:gd name="T87" fmla="*/ 635088 h 726"/>
              <a:gd name="T88" fmla="*/ 413406 w 726"/>
              <a:gd name="T89" fmla="*/ 641079 h 726"/>
              <a:gd name="T90" fmla="*/ 404419 w 726"/>
              <a:gd name="T91" fmla="*/ 593148 h 726"/>
              <a:gd name="T92" fmla="*/ 347501 w 726"/>
              <a:gd name="T93" fmla="*/ 539225 h 726"/>
              <a:gd name="T94" fmla="*/ 287587 w 726"/>
              <a:gd name="T95" fmla="*/ 533234 h 726"/>
              <a:gd name="T96" fmla="*/ 221681 w 726"/>
              <a:gd name="T97" fmla="*/ 578170 h 726"/>
              <a:gd name="T98" fmla="*/ 203707 w 726"/>
              <a:gd name="T99" fmla="*/ 635088 h 726"/>
              <a:gd name="T100" fmla="*/ 164763 w 726"/>
              <a:gd name="T101" fmla="*/ 617114 h 726"/>
              <a:gd name="T102" fmla="*/ 200712 w 726"/>
              <a:gd name="T103" fmla="*/ 536230 h 726"/>
              <a:gd name="T104" fmla="*/ 257630 w 726"/>
              <a:gd name="T105" fmla="*/ 497286 h 726"/>
              <a:gd name="T106" fmla="*/ 377457 w 726"/>
              <a:gd name="T107" fmla="*/ 476316 h 726"/>
              <a:gd name="T108" fmla="*/ 479311 w 726"/>
              <a:gd name="T109" fmla="*/ 404419 h 726"/>
              <a:gd name="T110" fmla="*/ 512264 w 726"/>
              <a:gd name="T111" fmla="*/ 392436 h 726"/>
              <a:gd name="T112" fmla="*/ 602135 w 726"/>
              <a:gd name="T113" fmla="*/ 383449 h 726"/>
              <a:gd name="T114" fmla="*/ 748924 w 726"/>
              <a:gd name="T115" fmla="*/ 419398 h 726"/>
              <a:gd name="T116" fmla="*/ 856769 w 726"/>
              <a:gd name="T117" fmla="*/ 518256 h 726"/>
              <a:gd name="T118" fmla="*/ 883730 w 726"/>
              <a:gd name="T119" fmla="*/ 539225 h 726"/>
              <a:gd name="T120" fmla="*/ 919678 w 726"/>
              <a:gd name="T121" fmla="*/ 599139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28" name="Freeform 70"/>
          <p:cNvSpPr>
            <a:spLocks/>
          </p:cNvSpPr>
          <p:nvPr/>
        </p:nvSpPr>
        <p:spPr bwMode="auto">
          <a:xfrm>
            <a:off x="362749" y="3916334"/>
            <a:ext cx="1087437" cy="1087438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30" name="Freeform 425"/>
          <p:cNvSpPr>
            <a:spLocks noEditPoints="1"/>
          </p:cNvSpPr>
          <p:nvPr/>
        </p:nvSpPr>
        <p:spPr bwMode="auto">
          <a:xfrm>
            <a:off x="4288442" y="3942780"/>
            <a:ext cx="1087438" cy="1087437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31" name="Content Placeholder 8"/>
          <p:cNvSpPr txBox="1">
            <a:spLocks/>
          </p:cNvSpPr>
          <p:nvPr/>
        </p:nvSpPr>
        <p:spPr bwMode="gray">
          <a:xfrm>
            <a:off x="1593856" y="2373151"/>
            <a:ext cx="2322512" cy="10353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ts val="1600"/>
              </a:lnSpc>
            </a:pPr>
            <a:r>
              <a:rPr lang="en-US" sz="2400" dirty="0" smtClean="0">
                <a:solidFill>
                  <a:schemeClr val="accent2"/>
                </a:solidFill>
              </a:rPr>
              <a:t>20 </a:t>
            </a:r>
            <a:r>
              <a:rPr lang="en-US" sz="2400" dirty="0" err="1" smtClean="0">
                <a:solidFill>
                  <a:schemeClr val="accent2"/>
                </a:solidFill>
              </a:rPr>
              <a:t>mins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en-US" sz="2800" dirty="0" smtClean="0">
                <a:solidFill>
                  <a:schemeClr val="bg1"/>
                </a:solidFill>
              </a:rPr>
              <a:t/>
            </a:r>
            <a:br>
              <a:rPr lang="en-US" sz="2800" dirty="0" smtClean="0">
                <a:solidFill>
                  <a:schemeClr val="bg1"/>
                </a:solidFill>
              </a:rPr>
            </a:br>
            <a:r>
              <a:rPr lang="en-US" b="0" dirty="0" smtClean="0">
                <a:solidFill>
                  <a:schemeClr val="bg1"/>
                </a:solidFill>
              </a:rPr>
              <a:t>Drive time </a:t>
            </a:r>
            <a:br>
              <a:rPr lang="en-US" b="0" dirty="0" smtClean="0">
                <a:solidFill>
                  <a:schemeClr val="bg1"/>
                </a:solidFill>
              </a:rPr>
            </a:br>
            <a:r>
              <a:rPr lang="en-US" b="0" dirty="0" smtClean="0">
                <a:solidFill>
                  <a:schemeClr val="bg1"/>
                </a:solidFill>
              </a:rPr>
              <a:t>(distance mapped)</a:t>
            </a:r>
          </a:p>
        </p:txBody>
      </p:sp>
      <p:sp>
        <p:nvSpPr>
          <p:cNvPr id="32" name="Freeform 106"/>
          <p:cNvSpPr>
            <a:spLocks noEditPoints="1"/>
          </p:cNvSpPr>
          <p:nvPr/>
        </p:nvSpPr>
        <p:spPr bwMode="auto">
          <a:xfrm>
            <a:off x="4260701" y="2281820"/>
            <a:ext cx="1085850" cy="1087438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49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Cinime_Typ1451">
  <a:themeElements>
    <a:clrScheme name="Cimine">
      <a:dk1>
        <a:srgbClr val="FFFFFF"/>
      </a:dk1>
      <a:lt1>
        <a:srgbClr val="414141"/>
      </a:lt1>
      <a:dk2>
        <a:srgbClr val="FFFFFF"/>
      </a:dk2>
      <a:lt2>
        <a:srgbClr val="414141"/>
      </a:lt2>
      <a:accent1>
        <a:srgbClr val="5ACDC8"/>
      </a:accent1>
      <a:accent2>
        <a:srgbClr val="E63264"/>
      </a:accent2>
      <a:accent3>
        <a:srgbClr val="9150AA"/>
      </a:accent3>
      <a:accent4>
        <a:srgbClr val="5FD2CD"/>
      </a:accent4>
      <a:accent5>
        <a:srgbClr val="EB3C64"/>
      </a:accent5>
      <a:accent6>
        <a:srgbClr val="9655B4"/>
      </a:accent6>
      <a:hlink>
        <a:srgbClr val="414141"/>
      </a:hlink>
      <a:folHlink>
        <a:srgbClr val="41414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3.xml><?xml version="1.0" encoding="utf-8"?>
<a:theme xmlns:a="http://schemas.openxmlformats.org/drawingml/2006/main" name="Light Grey">
  <a:themeElements>
    <a:clrScheme name="Cimine">
      <a:dk1>
        <a:srgbClr val="FFFFFF"/>
      </a:dk1>
      <a:lt1>
        <a:srgbClr val="414141"/>
      </a:lt1>
      <a:dk2>
        <a:srgbClr val="FFFFFF"/>
      </a:dk2>
      <a:lt2>
        <a:srgbClr val="414141"/>
      </a:lt2>
      <a:accent1>
        <a:srgbClr val="5ACDC8"/>
      </a:accent1>
      <a:accent2>
        <a:srgbClr val="E63264"/>
      </a:accent2>
      <a:accent3>
        <a:srgbClr val="9150AA"/>
      </a:accent3>
      <a:accent4>
        <a:srgbClr val="5FD2CD"/>
      </a:accent4>
      <a:accent5>
        <a:srgbClr val="EB3C64"/>
      </a:accent5>
      <a:accent6>
        <a:srgbClr val="9655B4"/>
      </a:accent6>
      <a:hlink>
        <a:srgbClr val="414141"/>
      </a:hlink>
      <a:folHlink>
        <a:srgbClr val="41414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4.xml><?xml version="1.0" encoding="utf-8"?>
<a:theme xmlns:a="http://schemas.openxmlformats.org/drawingml/2006/main" name="Icepop">
  <a:themeElements>
    <a:clrScheme name="DCM">
      <a:dk1>
        <a:srgbClr val="FFFFFF"/>
      </a:dk1>
      <a:lt1>
        <a:srgbClr val="414141"/>
      </a:lt1>
      <a:dk2>
        <a:srgbClr val="FFFFFF"/>
      </a:dk2>
      <a:lt2>
        <a:srgbClr val="414141"/>
      </a:lt2>
      <a:accent1>
        <a:srgbClr val="62C6C3"/>
      </a:accent1>
      <a:accent2>
        <a:srgbClr val="F9A01B"/>
      </a:accent2>
      <a:accent3>
        <a:srgbClr val="E53264"/>
      </a:accent3>
      <a:accent4>
        <a:srgbClr val="9051A0"/>
      </a:accent4>
      <a:accent5>
        <a:srgbClr val="414141"/>
      </a:accent5>
      <a:accent6>
        <a:srgbClr val="414141"/>
      </a:accent6>
      <a:hlink>
        <a:srgbClr val="414141"/>
      </a:hlink>
      <a:folHlink>
        <a:srgbClr val="414141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5.xml><?xml version="1.0" encoding="utf-8"?>
<a:theme xmlns:a="http://schemas.openxmlformats.org/drawingml/2006/main" name="Berry">
  <a:themeElements>
    <a:clrScheme name="DCM">
      <a:dk1>
        <a:srgbClr val="FFFFFF"/>
      </a:dk1>
      <a:lt1>
        <a:srgbClr val="414141"/>
      </a:lt1>
      <a:dk2>
        <a:srgbClr val="FFFFFF"/>
      </a:dk2>
      <a:lt2>
        <a:srgbClr val="414141"/>
      </a:lt2>
      <a:accent1>
        <a:srgbClr val="62C6C3"/>
      </a:accent1>
      <a:accent2>
        <a:srgbClr val="F9A01B"/>
      </a:accent2>
      <a:accent3>
        <a:srgbClr val="E53264"/>
      </a:accent3>
      <a:accent4>
        <a:srgbClr val="9051A0"/>
      </a:accent4>
      <a:accent5>
        <a:srgbClr val="414141"/>
      </a:accent5>
      <a:accent6>
        <a:srgbClr val="414141"/>
      </a:accent6>
      <a:hlink>
        <a:srgbClr val="414141"/>
      </a:hlink>
      <a:folHlink>
        <a:srgbClr val="414141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3</Words>
  <Application>Microsoft Office PowerPoint</Application>
  <PresentationFormat>Custom</PresentationFormat>
  <Paragraphs>2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7" baseType="lpstr">
      <vt:lpstr>ＭＳ Ｐゴシック</vt:lpstr>
      <vt:lpstr>ＭＳ Ｐゴシック</vt:lpstr>
      <vt:lpstr>Arial</vt:lpstr>
      <vt:lpstr>Century Gothic</vt:lpstr>
      <vt:lpstr>Impact</vt:lpstr>
      <vt:lpstr>Lucida Grande</vt:lpstr>
      <vt:lpstr>Typ1451-Medium</vt:lpstr>
      <vt:lpstr>Wingdings</vt:lpstr>
      <vt:lpstr>Divider Slides</vt:lpstr>
      <vt:lpstr>Cinime_Typ1451</vt:lpstr>
      <vt:lpstr>Light Grey</vt:lpstr>
      <vt:lpstr>Icepop</vt:lpstr>
      <vt:lpstr>Berry</vt:lpstr>
      <vt:lpstr>think-cell Slide</vt:lpstr>
      <vt:lpstr>Virgin trains</vt:lpstr>
      <vt:lpstr>Virgin trains</vt:lpstr>
      <vt:lpstr>Virgin trai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9-15T10:51:56Z</dcterms:created>
  <dcterms:modified xsi:type="dcterms:W3CDTF">2014-12-12T11:53:3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